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varScale="1">
        <p:scale>
          <a:sx n="70" d="100"/>
          <a:sy n="70" d="100"/>
        </p:scale>
        <p:origin x="48" y="66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D7DFDFF4-5687-4216-BE2B-5B0C165EFBA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D7C52403-154D-45F1-BBFE-133C2D2699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C51A73F6-FE0F-4625-8CBD-4E95FA1051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4</c:v>
                </c:pt>
                <c:pt idx="1">
                  <c:v>0.36</c:v>
                </c:pt>
                <c:pt idx="2">
                  <c:v>0.32</c:v>
                </c:pt>
                <c:pt idx="3">
                  <c:v>0.08</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4%</c:v>
                  </c:pt>
                  <c:pt idx="1">
                    <c:v>36%</c:v>
                  </c:pt>
                  <c:pt idx="2">
                    <c:v>32%</c:v>
                  </c:pt>
                  <c:pt idx="3">
                    <c:v>8%</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r>
                      <a:rPr lang="en-US" dirty="0"/>
                      <a:t>-</a:t>
                    </a:r>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AE26-433D-82F1-4674F4195729}"/>
                </c:ext>
              </c:extLst>
            </c:dLbl>
            <c:dLbl>
              <c:idx val="1"/>
              <c:tx>
                <c:rich>
                  <a:bodyPr/>
                  <a:lstStyle/>
                  <a:p>
                    <a:fld id="{164E5924-99B8-4797-8595-9DB6C8A49C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BAE1E2A8-62BD-41D8-90C0-D3FF9F036C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A08FEC29-FBE4-4348-9258-4B8C806842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7</c:v>
                </c:pt>
                <c:pt idx="2">
                  <c:v>0.49</c:v>
                </c:pt>
                <c:pt idx="3">
                  <c:v>0.33</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0%</c:v>
                  </c:pt>
                  <c:pt idx="1">
                    <c:v>17%</c:v>
                  </c:pt>
                  <c:pt idx="2">
                    <c:v>49%</c:v>
                  </c:pt>
                  <c:pt idx="3">
                    <c:v>33%</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5</c:v>
                </c:pt>
                <c:pt idx="1">
                  <c:v>0.81</c:v>
                </c:pt>
                <c:pt idx="2">
                  <c:v>0.86</c:v>
                </c:pt>
                <c:pt idx="3">
                  <c:v>0.9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D213A0A3-E98E-4360-9331-7FD022CEBB6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9115B219-1216-459F-870A-8FD973C92D3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EEF630E1-A3D7-4F2C-8C03-6EC83E057D1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5</c:v>
                </c:pt>
                <c:pt idx="1">
                  <c:v>0.19</c:v>
                </c:pt>
                <c:pt idx="2">
                  <c:v>0.14000000000000001</c:v>
                </c:pt>
                <c:pt idx="3">
                  <c:v>0.0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75%</c:v>
                  </c:pt>
                  <c:pt idx="1">
                    <c:v>81%</c:v>
                  </c:pt>
                  <c:pt idx="2">
                    <c:v>86%</c:v>
                  </c:pt>
                  <c:pt idx="3">
                    <c:v>96%</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2</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742FE14F-904E-4598-A5BD-D077E8223B5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1F6FA1EC-9593-4425-9F3A-009F7261125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BD6D8145-6980-420C-AE3E-D1ACEF03464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79C728CE-E401-4828-BB13-CEDA38091B8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8</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2%</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9</c:v>
                </c:pt>
                <c:pt idx="1">
                  <c:v>0.86</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B2EC584E-566E-4917-B8D4-82799B49C06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BE783B61-E6C8-4245-9966-D99E00600C3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18455CB3-3384-4C55-BAD6-8E88F72A279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8EC25CB9-FF75-4E44-A04D-FC03C353E0F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1</c:v>
                </c:pt>
                <c:pt idx="1">
                  <c:v>0.1400000000000000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9%</c:v>
                  </c:pt>
                  <c:pt idx="1">
                    <c:v>86%</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3</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9F21DE65-452F-4378-821F-B5DB4EC44F6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888D1760-E71A-46A4-9029-BC19693EBBB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7</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3%</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6%</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4</c:v>
                </c:pt>
                <c:pt idx="1">
                  <c:v>0.85</c:v>
                </c:pt>
                <c:pt idx="2">
                  <c:v>0.83</c:v>
                </c:pt>
                <c:pt idx="3">
                  <c:v>0.93</c:v>
                </c:pt>
                <c:pt idx="4">
                  <c:v>0.8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1F754A6D-80F2-4DFA-A4EF-FA045A9462E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4F6C0997-5A78-4989-9625-8CBE4790E35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E836481B-7DD5-496D-BC58-2B799D70613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7C1DA886-D7BE-43D8-8012-0055A8FA288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6</c:v>
                </c:pt>
                <c:pt idx="1">
                  <c:v>0.15</c:v>
                </c:pt>
                <c:pt idx="2">
                  <c:v>0.17</c:v>
                </c:pt>
                <c:pt idx="3">
                  <c:v>7.0000000000000007E-2</c:v>
                </c:pt>
                <c:pt idx="4">
                  <c:v>0.1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4%</c:v>
                  </c:pt>
                  <c:pt idx="1">
                    <c:v>85%</c:v>
                  </c:pt>
                  <c:pt idx="2">
                    <c:v>83%</c:v>
                  </c:pt>
                  <c:pt idx="3">
                    <c:v>93%</c:v>
                  </c:pt>
                  <c:pt idx="4">
                    <c:v>85%</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73</c:v>
                </c:pt>
                <c:pt idx="2">
                  <c:v>0.89</c:v>
                </c:pt>
                <c:pt idx="3">
                  <c:v>0.8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2BE49085-FDFC-42B7-9A34-B0E3AC2680A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0E2A1B0C-01C3-408B-B495-854184C4ADD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07723358-1FD1-4605-9CA1-01E87B7F060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7</c:v>
                </c:pt>
                <c:pt idx="2">
                  <c:v>0.11</c:v>
                </c:pt>
                <c:pt idx="3">
                  <c:v>0.1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73%</c:v>
                  </c:pt>
                  <c:pt idx="2">
                    <c:v>89%</c:v>
                  </c:pt>
                  <c:pt idx="3">
                    <c:v>89%</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7</c:v>
                </c:pt>
                <c:pt idx="1">
                  <c:v>0</c:v>
                </c:pt>
                <c:pt idx="2">
                  <c:v>0.9</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6B611350-784C-4ACC-9F8F-0D99398D313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CF2FA274-48AD-4062-8CB7-E68F635CA21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80F27B8D-B5C0-4AA8-B884-98008035464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EBCA5DE0-8768-45D0-8B6A-CC533391522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3</c:v>
                </c:pt>
                <c:pt idx="1">
                  <c:v>0</c:v>
                </c:pt>
                <c:pt idx="2">
                  <c:v>0.1</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7%</c:v>
                  </c:pt>
                  <c:pt idx="1">
                    <c:v>-</c:v>
                  </c:pt>
                  <c:pt idx="2">
                    <c:v>90%</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4</c:v>
                </c:pt>
                <c:pt idx="1">
                  <c:v>0.88</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1C79FB98-CFBD-4ADD-BBBA-327614466DF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E3446CCB-21D0-4334-A019-6B4F8729A84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0091BE13-2E27-43A5-AA92-5F079886F83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840C8CDC-EFFB-40A4-B096-ED4838171EE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6</c:v>
                </c:pt>
                <c:pt idx="1">
                  <c:v>0.12</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4%</c:v>
                  </c:pt>
                  <c:pt idx="1">
                    <c:v>88%</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6</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9AD6D97F-6028-4B03-BD29-DB67032D8A2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94DE1546-8CA0-4A3A-A76A-267529DDEFB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400000000000000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6%</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2</c:v>
                </c:pt>
                <c:pt idx="1">
                  <c:v>90</c:v>
                </c:pt>
                <c:pt idx="2">
                  <c:v>3</c:v>
                </c:pt>
                <c:pt idx="3">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1</c:v>
                </c:pt>
                <c:pt idx="1">
                  <c:v>6</c:v>
                </c:pt>
                <c:pt idx="2">
                  <c:v>3</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95B5F421-2336-4755-A7D8-B18ED3A9F4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3CD9ADBE-FE32-47C2-AF95-E55704C4EE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4FB5EE25-0745-4C3A-B0C3-105A198D24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97850572-7180-4EC8-8BE3-E50E670164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CD17F810-3161-40A8-84FB-79A2306EB9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008A1B35-C1AA-4F73-9D35-4318713B77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2</c:v>
                </c:pt>
                <c:pt idx="1">
                  <c:v>6</c:v>
                </c:pt>
                <c:pt idx="2">
                  <c:v>4</c:v>
                </c:pt>
                <c:pt idx="3">
                  <c:v>3</c:v>
                </c:pt>
                <c:pt idx="4">
                  <c:v>2</c:v>
                </c:pt>
                <c:pt idx="5">
                  <c:v>2</c:v>
                </c:pt>
                <c:pt idx="6">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2%</c:v>
                  </c:pt>
                  <c:pt idx="1">
                    <c:v>6%</c:v>
                  </c:pt>
                  <c:pt idx="2">
                    <c:v>4%</c:v>
                  </c:pt>
                  <c:pt idx="3">
                    <c:v>3%</c:v>
                  </c:pt>
                  <c:pt idx="4">
                    <c:v>2%</c:v>
                  </c:pt>
                  <c:pt idx="5">
                    <c:v>2%</c:v>
                  </c:pt>
                  <c:pt idx="6">
                    <c:v>39%</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B0F7F4D2-A9FA-4032-B1D3-57425FB3D1E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E8D1F650-5D52-425E-99AB-CF0E3696D7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73B536E8-ED31-4318-97C5-A21857DE546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14C12EF2-3685-4976-9E7C-D72A7F6E65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EABA8FEC-74D2-458D-9953-60C49724809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4F86E7AC-D94B-4511-89EA-C71A93A5988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1</c:v>
                </c:pt>
                <c:pt idx="1">
                  <c:v>8</c:v>
                </c:pt>
                <c:pt idx="2">
                  <c:v>2</c:v>
                </c:pt>
                <c:pt idx="3">
                  <c:v>5</c:v>
                </c:pt>
                <c:pt idx="4">
                  <c:v>13</c:v>
                </c:pt>
                <c:pt idx="5">
                  <c:v>4</c:v>
                </c:pt>
                <c:pt idx="6">
                  <c:v>3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1%</c:v>
                  </c:pt>
                  <c:pt idx="1">
                    <c:v>8%</c:v>
                  </c:pt>
                  <c:pt idx="2">
                    <c:v>2%</c:v>
                  </c:pt>
                  <c:pt idx="3">
                    <c:v>5%</c:v>
                  </c:pt>
                  <c:pt idx="4">
                    <c:v>13%</c:v>
                  </c:pt>
                  <c:pt idx="5">
                    <c:v>4%</c:v>
                  </c:pt>
                  <c:pt idx="6">
                    <c:v>33%</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3B7742D5-0CD6-4334-9315-EC4EBF5EA6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C93C5018-E421-4521-90FA-C956E5E2FC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9E92244C-F19C-4D52-9690-BFC60FEF87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F3FC3C3F-C4BE-4AAA-B415-214C011EAE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B8A33AEF-7638-4E80-B137-FA7EF15EDD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A7006EBB-D41B-4B22-B847-8A5AECA1B7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2</c:v>
                </c:pt>
                <c:pt idx="1">
                  <c:v>7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2%</c:v>
                  </c:pt>
                  <c:pt idx="1">
                    <c:v>78%</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5C129DBA-D5B5-4C06-919A-618ED37B76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DC46B18D-EF80-43FB-8917-FBE360BC77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295C5325-25CD-4B24-A9D9-1F480E7186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295ACA77-2A49-4C3A-9B35-F77BE91BEE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999999999999995</c:v>
                </c:pt>
                <c:pt idx="1">
                  <c:v>0.42</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7%</c:v>
                  </c:pt>
                  <c:pt idx="1">
                    <c:v>42%</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E9541A03-C463-426A-9EC3-A48D5E98D2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DA86AA3E-54DF-46E6-92EC-A33783A261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10E03FD4-761B-4CBB-AA2E-F228D24D614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5BF8C58D-7821-4366-8AD3-49519F8AED6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000000000000005</c:v>
                </c:pt>
                <c:pt idx="1">
                  <c:v>0.43</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6%</c:v>
                  </c:pt>
                  <c:pt idx="1">
                    <c:v>43%</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E8844C90-CEF4-46BA-A173-038B67C657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7B4B4905-AA92-46EF-8590-78275F7274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FEE56F1B-58F2-420F-8F2F-B8AD14CD8B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95B633C6-3513-49E2-9EDC-95B6F903CA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c:v>
                  </c:pt>
                  <c:pt idx="1">
                    <c:v>97%</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BF236BDF-2731-4CC0-8075-70A3CE66D3F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C44ABA08-7069-4FCA-8DC8-5D821EDA34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c:v>
                </c:pt>
                <c:pt idx="1">
                  <c:v>9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c:v>
                  </c:pt>
                  <c:pt idx="1">
                    <c:v>93%</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fld id="{3099DACE-E550-4CCC-8F72-01C0D6ABE9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35D3AD01-E0B9-4532-B697-18B65D6D3C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6DC31E02-54A2-4D18-8DA0-1B58E67B869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91C5FB0C-DFB4-4B13-BF5C-B09A9D8FCF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r>
                      <a:rPr lang="en-GB"/>
                      <a:t>4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3EB-456C-B74D-581899DAC290}"/>
                </c:ext>
              </c:extLst>
            </c:dLbl>
            <c:dLbl>
              <c:idx val="6"/>
              <c:tx>
                <c:rich>
                  <a:bodyPr/>
                  <a:lstStyle/>
                  <a:p>
                    <a:fld id="{481DD104-B290-4993-9F86-111EBEA7B8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92</c:v>
                </c:pt>
                <c:pt idx="2">
                  <c:v>84</c:v>
                </c:pt>
                <c:pt idx="3">
                  <c:v>74</c:v>
                </c:pt>
                <c:pt idx="4">
                  <c:v>91</c:v>
                </c:pt>
                <c:pt idx="5">
                  <c:v>42</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5%p</c:v>
                  </c:pt>
                  <c:pt idx="1">
                    <c:v>92%</c:v>
                  </c:pt>
                  <c:pt idx="2">
                    <c:v>84%</c:v>
                  </c:pt>
                  <c:pt idx="3">
                    <c:v>74%</c:v>
                  </c:pt>
                  <c:pt idx="4">
                    <c:v>91%</c:v>
                  </c:pt>
                  <c:pt idx="5">
                    <c:v>42%p</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B0F0DD17-1D99-45B9-BEBD-85EAF3BCCF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C0A4014E-548D-423F-AB92-997280434C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7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fld id="{BABE631F-DA75-4FE1-8515-BBEF468823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C641E8F6-644F-4CF2-AA3E-AEA071A04A5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13DF2D25-3008-446D-814A-962ACD99C5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4CE7FE34-5B15-459C-9A39-541F23F293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0</c:v>
                </c:pt>
                <c:pt idx="1">
                  <c:v>86</c:v>
                </c:pt>
                <c:pt idx="2">
                  <c:v>78</c:v>
                </c:pt>
                <c:pt idx="3">
                  <c:v>68</c:v>
                </c:pt>
                <c:pt idx="4">
                  <c:v>89</c:v>
                </c:pt>
                <c:pt idx="5">
                  <c:v>45</c:v>
                </c:pt>
                <c:pt idx="6">
                  <c:v>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0%</c:v>
                  </c:pt>
                  <c:pt idx="1">
                    <c:v>86%</c:v>
                  </c:pt>
                  <c:pt idx="2">
                    <c:v>78%p</c:v>
                  </c:pt>
                  <c:pt idx="3">
                    <c:v>68%</c:v>
                  </c:pt>
                  <c:pt idx="4">
                    <c:v>89%</c:v>
                  </c:pt>
                  <c:pt idx="5">
                    <c:v>45%</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6</c:v>
                </c:pt>
                <c:pt idx="1">
                  <c:v>26</c:v>
                </c:pt>
                <c:pt idx="2">
                  <c:v>12</c:v>
                </c:pt>
                <c:pt idx="3">
                  <c:v>3</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6</c:v>
                </c:pt>
                <c:pt idx="1">
                  <c:v>32</c:v>
                </c:pt>
                <c:pt idx="2">
                  <c:v>15</c:v>
                </c:pt>
                <c:pt idx="3">
                  <c:v>5</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8623F398-878E-43EC-A9F5-4BE059DEB6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77A8427A-E84E-4339-8492-938A93DF9CF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010CDF51-9C0E-4429-B231-B8299AF109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4F35D656-F7DC-4C90-A3CA-A44FD4B73A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1</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100%</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7</c:v>
                </c:pt>
                <c:pt idx="1">
                  <c:v>27</c:v>
                </c:pt>
                <c:pt idx="2">
                  <c:v>6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11</c:v>
                </c:pt>
                <c:pt idx="1">
                  <c:v>46</c:v>
                </c:pt>
                <c:pt idx="2">
                  <c:v>4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6</c:v>
                </c:pt>
                <c:pt idx="2">
                  <c:v>30</c:v>
                </c:pt>
                <c:pt idx="3">
                  <c:v>16</c:v>
                </c:pt>
                <c:pt idx="4">
                  <c:v>2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22</c:v>
                </c:pt>
                <c:pt idx="2">
                  <c:v>18</c:v>
                </c:pt>
                <c:pt idx="3">
                  <c:v>18</c:v>
                </c:pt>
                <c:pt idx="4">
                  <c:v>2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0100000000000001</c:v>
                </c:pt>
                <c:pt idx="1">
                  <c:v>0.17199999999999999</c:v>
                </c:pt>
                <c:pt idx="2">
                  <c:v>0.182</c:v>
                </c:pt>
                <c:pt idx="3">
                  <c:v>0.253</c:v>
                </c:pt>
                <c:pt idx="4">
                  <c:v>0.2909999999999999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3500000000000001</c:v>
                </c:pt>
                <c:pt idx="1">
                  <c:v>0.23300000000000001</c:v>
                </c:pt>
                <c:pt idx="2">
                  <c:v>0.18</c:v>
                </c:pt>
                <c:pt idx="3">
                  <c:v>0.19700000000000001</c:v>
                </c:pt>
                <c:pt idx="4">
                  <c:v>0.25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9</c:v>
                </c:pt>
                <c:pt idx="2">
                  <c:v>27</c:v>
                </c:pt>
                <c:pt idx="3">
                  <c:v>23</c:v>
                </c:pt>
                <c:pt idx="4">
                  <c:v>3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2</c:v>
                </c:pt>
                <c:pt idx="2">
                  <c:v>20</c:v>
                </c:pt>
                <c:pt idx="3">
                  <c:v>25</c:v>
                </c:pt>
                <c:pt idx="4">
                  <c:v>3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9</c:v>
                </c:pt>
                <c:pt idx="2">
                  <c:v>30</c:v>
                </c:pt>
                <c:pt idx="3">
                  <c:v>19</c:v>
                </c:pt>
                <c:pt idx="4">
                  <c:v>2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6</c:v>
                </c:pt>
                <c:pt idx="1">
                  <c:v>32</c:v>
                </c:pt>
                <c:pt idx="2">
                  <c:v>21</c:v>
                </c:pt>
                <c:pt idx="3">
                  <c:v>12</c:v>
                </c:pt>
                <c:pt idx="4">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3A97CEF9-A8C5-468E-A2A1-C98EDEB173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47223AC0-518A-4D75-A96E-9C8D114337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9CFCD3C8-02E4-4606-A801-93C9D7BCBF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5106FB48-6840-44F2-9872-5DF1E902BF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4</c:v>
                </c:pt>
                <c:pt idx="1">
                  <c:v>0</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94%</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F22E2223-F477-4834-917B-33D963CDE2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F64A0E6C-11C6-4517-828C-8F4775BCE6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CE324DB1-0ABC-49D4-8E43-EDE94ED04F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3BA18ABC-001B-4673-851F-CE6E18EB86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2</c:v>
                </c:pt>
                <c:pt idx="1">
                  <c:v>0</c:v>
                </c:pt>
                <c:pt idx="2">
                  <c:v>0.05</c:v>
                </c:pt>
                <c:pt idx="3">
                  <c:v>0.02</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92%</c:v>
                  </c:pt>
                  <c:pt idx="1">
                    <c:v>-</c:v>
                  </c:pt>
                  <c:pt idx="2">
                    <c:v>5%</c:v>
                  </c:pt>
                  <c:pt idx="3">
                    <c:v>2%</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8</c:v>
                </c:pt>
                <c:pt idx="2">
                  <c:v>26</c:v>
                </c:pt>
                <c:pt idx="3">
                  <c:v>21</c:v>
                </c:pt>
                <c:pt idx="4">
                  <c:v>3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4</c:v>
                </c:pt>
                <c:pt idx="2">
                  <c:v>26</c:v>
                </c:pt>
                <c:pt idx="3">
                  <c:v>16</c:v>
                </c:pt>
                <c:pt idx="4">
                  <c:v>3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8</c:v>
                </c:pt>
                <c:pt idx="1">
                  <c:v>22</c:v>
                </c:pt>
                <c:pt idx="2">
                  <c:v>40</c:v>
                </c:pt>
                <c:pt idx="3">
                  <c:v>3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2</c:v>
                </c:pt>
                <c:pt idx="1">
                  <c:v>34</c:v>
                </c:pt>
                <c:pt idx="2">
                  <c:v>35</c:v>
                </c:pt>
                <c:pt idx="3">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8</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2</c:v>
                </c:pt>
                <c:pt idx="1">
                  <c:v>37</c:v>
                </c:pt>
                <c:pt idx="2">
                  <c:v>14</c:v>
                </c:pt>
                <c:pt idx="3">
                  <c:v>3</c:v>
                </c:pt>
                <c:pt idx="4">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4</c:v>
                </c:pt>
                <c:pt idx="1">
                  <c:v>22</c:v>
                </c:pt>
                <c:pt idx="2">
                  <c:v>9</c:v>
                </c:pt>
                <c:pt idx="3">
                  <c:v>2</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7</c:v>
                </c:pt>
                <c:pt idx="1">
                  <c:v>45</c:v>
                </c:pt>
                <c:pt idx="2">
                  <c:v>14</c:v>
                </c:pt>
                <c:pt idx="3">
                  <c:v>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3</c:v>
                </c:pt>
                <c:pt idx="1">
                  <c:v>51</c:v>
                </c:pt>
                <c:pt idx="2">
                  <c:v>14</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D26A65D5-377E-44C3-B106-E8F65F182E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3%</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F863-4EF3-8628-514246B96513}"/>
                </c:ext>
              </c:extLst>
            </c:dLbl>
            <c:dLbl>
              <c:idx val="1"/>
              <c:tx>
                <c:rich>
                  <a:bodyPr/>
                  <a:lstStyle/>
                  <a:p>
                    <a:r>
                      <a:rPr lang="en-GB"/>
                      <a:t>2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3</c:v>
                </c:pt>
                <c:pt idx="1">
                  <c:v>2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3%q</c:v>
                  </c:pt>
                  <c:pt idx="1">
                    <c:v>27%p</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8F51CCB2-4258-478E-B7A8-2C0DCFACE65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21B554D5-DC75-4A1F-A8A5-4D932DD055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4</c:v>
                </c:pt>
                <c:pt idx="1">
                  <c:v>1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4%</c:v>
                  </c:pt>
                  <c:pt idx="1">
                    <c:v>16%</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5CDDF5F7-BDFC-4906-9C5A-6389145CB20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8086369D-AF5D-470F-881B-A63814A800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2</c:v>
                </c:pt>
                <c:pt idx="1">
                  <c:v>3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2%</c:v>
                  </c:pt>
                  <c:pt idx="1">
                    <c:v>38%</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DFCB2A19-B0FB-4D60-BE2C-47A3C55EE1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AF2987E3-6AAD-4627-AC28-5918CD95972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F259DAAA-3E07-478D-97E4-C6AA60431D3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05A89D99-CF3D-415C-9CE0-B2E0D7C8829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1</c:v>
                </c:pt>
                <c:pt idx="1">
                  <c:v>5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1%</c:v>
                  </c:pt>
                  <c:pt idx="1">
                    <c:v>59%</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2F6B8A5A-D9B9-4603-92CF-6A52471C2D1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36EA24C7-3089-422A-9B7E-171BEA368C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3</c:v>
                </c:pt>
                <c:pt idx="1">
                  <c:v>5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3%</c:v>
                  </c:pt>
                  <c:pt idx="1">
                    <c:v>57%</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B8092351-3F77-44A2-919C-F6DC69BD6CE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9E81-4665-B9F1-19FE31D5928C}"/>
                </c:ext>
              </c:extLst>
            </c:dLbl>
            <c:dLbl>
              <c:idx val="1"/>
              <c:tx>
                <c:rich>
                  <a:bodyPr/>
                  <a:lstStyle/>
                  <a:p>
                    <a:r>
                      <a:rPr lang="en-GB"/>
                      <a:t>4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1</c:v>
                </c:pt>
                <c:pt idx="1">
                  <c:v>4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1%p</c:v>
                  </c:pt>
                  <c:pt idx="1">
                    <c:v>49%q</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162CEFB2-F584-419A-8C1A-43EB938581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D1D9F925-DBFD-4BF4-9D8B-E9B13AF884B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6</c:v>
                </c:pt>
                <c:pt idx="1">
                  <c:v>6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6%</c:v>
                  </c:pt>
                  <c:pt idx="1">
                    <c:v>64%</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6CE13952-FF3A-4015-9D6A-02D85C8FAD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82A3B485-F17C-4DC3-9580-4BFE60AFE3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46AACB3D-641A-4D36-B521-BD9318FA66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p</c:v>
                  </c:pt>
                  <c:pt idx="1">
                    <c:v>19%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C111E02F-144E-49E9-9A56-07796420CA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6AA8742A-9045-44EF-A224-ECA3709D4B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8</c:v>
                </c:pt>
                <c:pt idx="1">
                  <c:v>3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8%</c:v>
                  </c:pt>
                  <c:pt idx="1">
                    <c:v>32%</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00ECAD80-DFAC-41B6-94C7-F21B922C40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FADF01A6-D314-4FF7-A6D0-FF3B7CEE6F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1</c:v>
                </c:pt>
                <c:pt idx="1">
                  <c:v>4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1%</c:v>
                  </c:pt>
                  <c:pt idx="1">
                    <c:v>49%</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27C3774C-8BF6-49AD-9039-D13BBFEF90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92603F6C-0D2E-4A72-9920-A5CFDAC6036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4B5E2B16-E86A-4B7F-92E3-D114440A7DB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79%</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1A96-46F4-8DED-A8EE18A79494}"/>
                </c:ext>
              </c:extLst>
            </c:dLbl>
            <c:dLbl>
              <c:idx val="1"/>
              <c:tx>
                <c:rich>
                  <a:bodyPr/>
                  <a:lstStyle/>
                  <a:p>
                    <a:r>
                      <a:rPr lang="en-GB"/>
                      <a:t>2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p</c:v>
                  </c:pt>
                  <c:pt idx="1">
                    <c:v>21%q</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7</c:v>
                </c:pt>
                <c:pt idx="1">
                  <c:v>35</c:v>
                </c:pt>
                <c:pt idx="2">
                  <c:v>1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0</c:v>
                </c:pt>
                <c:pt idx="1">
                  <c:v>50</c:v>
                </c:pt>
                <c:pt idx="2">
                  <c:v>1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A9803BF4-2CBD-4ACD-9F0F-5E3423F46C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628B7E37-9880-474A-8E19-9BB3BCA416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7FDFD512-256D-4F58-B5D4-1994AB67AC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60481183-23F7-46B5-A7DA-6E47EFE140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B70F4982-255D-4974-BD8B-32AB734816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30705736-1EDF-42AC-999F-C1469BBD1D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2</c:v>
                </c:pt>
                <c:pt idx="1">
                  <c:v>6</c:v>
                </c:pt>
                <c:pt idx="2">
                  <c:v>60</c:v>
                </c:pt>
                <c:pt idx="3">
                  <c:v>35</c:v>
                </c:pt>
                <c:pt idx="4">
                  <c:v>17</c:v>
                </c:pt>
                <c:pt idx="5">
                  <c:v>15</c:v>
                </c:pt>
                <c:pt idx="6">
                  <c:v>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2%</c:v>
                  </c:pt>
                  <c:pt idx="1">
                    <c:v>6%</c:v>
                  </c:pt>
                  <c:pt idx="2">
                    <c:v>60%</c:v>
                  </c:pt>
                  <c:pt idx="3">
                    <c:v>35%</c:v>
                  </c:pt>
                  <c:pt idx="4">
                    <c:v>17%</c:v>
                  </c:pt>
                  <c:pt idx="5">
                    <c:v>15%</c:v>
                  </c:pt>
                  <c:pt idx="6">
                    <c:v>8%</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06B5C0AA-C884-4EBA-87BE-E14D1C2BCA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1A895604-C8B4-428E-A00E-86B4CBCE72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66128336-F718-4110-8E88-307C95EC65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4516970E-832A-475A-BAE6-BA92E006EC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D0EE9A6D-E142-43B6-BC27-384B68DF69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69DD02E3-E8F0-46FB-AD02-CD4FC84A647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8</c:v>
                </c:pt>
                <c:pt idx="1">
                  <c:v>18</c:v>
                </c:pt>
                <c:pt idx="2">
                  <c:v>35</c:v>
                </c:pt>
                <c:pt idx="3">
                  <c:v>46</c:v>
                </c:pt>
                <c:pt idx="4">
                  <c:v>6</c:v>
                </c:pt>
                <c:pt idx="5">
                  <c:v>17</c:v>
                </c:pt>
                <c:pt idx="6">
                  <c:v>1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8%</c:v>
                  </c:pt>
                  <c:pt idx="1">
                    <c:v>18%</c:v>
                  </c:pt>
                  <c:pt idx="2">
                    <c:v>35%</c:v>
                  </c:pt>
                  <c:pt idx="3">
                    <c:v>46%</c:v>
                  </c:pt>
                  <c:pt idx="4">
                    <c:v>6%</c:v>
                  </c:pt>
                  <c:pt idx="5">
                    <c:v>17%</c:v>
                  </c:pt>
                  <c:pt idx="6">
                    <c:v>14%</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8</c:v>
                </c:pt>
                <c:pt idx="1">
                  <c:v>34</c:v>
                </c:pt>
                <c:pt idx="2">
                  <c:v>6</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61</c:v>
                </c:pt>
                <c:pt idx="1">
                  <c:v>34</c:v>
                </c:pt>
                <c:pt idx="2">
                  <c:v>3</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2%</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5</c:v>
                </c:pt>
                <c:pt idx="1">
                  <c:v>0.74</c:v>
                </c:pt>
                <c:pt idx="2">
                  <c:v>0.93</c:v>
                </c:pt>
                <c:pt idx="3">
                  <c:v>0.84</c:v>
                </c:pt>
                <c:pt idx="4">
                  <c:v>0.8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F381DD86-A9D6-4A14-B448-FFABD530E47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5B1FB76C-97E2-4D9B-B1B7-AC724ECAA15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B17B2394-9213-4363-AF1E-EF25AD58BB8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3763998F-FB15-403F-AC00-813F2CBD4A6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5</c:v>
                </c:pt>
                <c:pt idx="1">
                  <c:v>0.26</c:v>
                </c:pt>
                <c:pt idx="2">
                  <c:v>7.0000000000000007E-2</c:v>
                </c:pt>
                <c:pt idx="3">
                  <c:v>0.16</c:v>
                </c:pt>
                <c:pt idx="4">
                  <c:v>0.1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5%</c:v>
                  </c:pt>
                  <c:pt idx="1">
                    <c:v>74%</c:v>
                  </c:pt>
                  <c:pt idx="2">
                    <c:v>93%</c:v>
                  </c:pt>
                  <c:pt idx="3">
                    <c:v>84%</c:v>
                  </c:pt>
                  <c:pt idx="4">
                    <c:v>81%</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AMPSHIRE AND ISLE OF WIGHT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AMPSHIRE AND ISLE OF WIGHT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AMPSHIRE AND ISLE OF WIGHT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AMPSHIRE AND ISLE OF WIGHT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AMPSHIRE AND ISLE OF WIGHT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HAMPSHIRE AND ISLE OF WIGHT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695767541"/>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weight and BMI check as part of their last annual review
Having a smoking status review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310310764"/>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344720669"/>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part in physical activity
Healthcare professionals providing support with emotional and mental health need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915638316"/>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HAMPSHIRE AND ISLE OF WIGHT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82475155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10828072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1% of respondents who were marked as Type 1 in the sample selected ‘Type 1’, 6% selected ‘Type 2’, 3% selected ‘Other’ and *% selected ‘I don’t know’ ​</a:t>
            </a:r>
          </a:p>
          <a:p>
            <a:pPr marL="171450" indent="-171450">
              <a:buFont typeface="Arial" panose="020B0604020202020204" pitchFamily="34" charset="0"/>
              <a:buChar char="•"/>
              <a:defRPr/>
            </a:pPr>
            <a:r>
              <a:rPr lang="en-GB" sz="1200" dirty="0">
                <a:solidFill>
                  <a:schemeClr val="tx1"/>
                </a:solidFill>
                <a:effectLst/>
              </a:rPr>
              <a:t>90% of respondents who were marked as Type 2 in the sample selected ‘Type 2’, 2% selected ‘Type 1’, 3% selected ‘Other’ and 5%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13); Type 2, ICS (560)).</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698399542"/>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874747794"/>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21318771"/>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650569633"/>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52068129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65); Type 2, National (19,941), ICS (467))</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326949682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338674803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50); Type 2, National (22,278), ICS (520))</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78741209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61910129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34); Type 2, National (21,082), ICS (496))</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155803620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406432208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14); Type 2, National (24,180), ICS (556))</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038892948"/>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4145854169"/>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341555171"/>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907573996"/>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360686634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94); Type 2, National (22,482), ICS (522))</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70348675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73236379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06964780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399958603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310643672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38852095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193639222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341286538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413073439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00); Type 2, National (22,670), ICS (524))</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08447490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241436622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421934379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324904159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262559042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114116958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86324244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423082597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292840271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10); Type 2, National (24,076), ICS (554))</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247668641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342443651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40831627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84638291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85062115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27976506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173066793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95028471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12); Type 2, National (24,153), ICS (558))</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20714512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78207155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8105645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66050915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28657985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326801014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381806940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388764530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94660647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13); Type 2, National (24,135), ICS (55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290086355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46217778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105074160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118512203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257352346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67652005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296285981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174137844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348701942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4); Type 2, National (24,084), ICS (55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85441228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404876720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351065415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381396560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7786154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228453974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370116236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393436530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279137543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0); Type 2, National (24,070), ICS (55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102167371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3119142697"/>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65290559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147361044"/>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49464710"/>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139806628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4079768366"/>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7516826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71653501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4); Type 2, National (24,260), ICS (560))</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362889652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62723703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266461026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50041218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383261067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345552452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44656198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106790061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114552969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14); Type 2, National (24,267), ICS (559))</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396306598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89275500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45232125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91758803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3974301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148920472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246425679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97047858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63520548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3); Type 2, National (24,196), ICS (557))</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64492494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82549306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32566974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13); Type 2, National (24,019), ICS (550))</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402631136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401645312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81); Type 2, National (11,860), ICS (283))</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35210873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39566828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95); Type 2, National (21,228), ICS (483))</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220936495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367059376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92); Type 2, National (20,915), ICS (478))</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56764393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96977985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75); Type 2, National (20,086), ICS (447))</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191856361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118815359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72); Type 2, National (21,890), ICS (491))</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272734948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86190620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59); Type 2, National (18,585), ICS (407))</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66899660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374161329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258427285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230896471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76758845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396514706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220481068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205399795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03); Type 2, National (22,580), ICS (515))</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56929074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140764447"/>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772341516"/>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3319259772"/>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842918210"/>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277888847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96); Type 2, National (12,350), ICS (253))</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402703597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3335643962"/>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240594856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35093834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368502027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302420189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98482551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69502961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94); Type 2, National (10,911), ICS (26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74373286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844416612"/>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908100514"/>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4034321405"/>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459059069"/>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29126553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667427203"/>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97))</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321699223"/>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248204656"/>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099375639"/>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948893854"/>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299294837"/>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60117960"/>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21))</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HAMPSHIRE AND ISLE OF WIGHT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239</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78</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4%</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dirty="0">
                <a:ln>
                  <a:noFill/>
                </a:ln>
                <a:solidFill>
                  <a:schemeClr val="tx1"/>
                </a:solidFill>
                <a:effectLst/>
                <a:uLnTx/>
                <a:uFillTx/>
                <a:ea typeface="+mn-ea"/>
                <a:cs typeface="+mn-cs"/>
              </a:rPr>
              <a:t>This slide provides information about people living with type 1 or type 2 diabetes who took part in the survey in your ICS.</a:t>
            </a:r>
            <a:endParaRPr lang="en-GB" b="0" dirty="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15</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63</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870</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369</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687642927"/>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745695795"/>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3934967443"/>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2408646705"/>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2518391207"/>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594942846"/>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1633422734"/>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HAMPSHIRE AND ISLE OF WIGHT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474326783"/>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foot check as part of their last annual review
Participating in a course about diabetes
Having support from other people living with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43171422"/>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763665109"/>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medicine</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254097769"/>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5</TotalTime>
  <Words>5314</Words>
  <Application>Microsoft Office PowerPoint</Application>
  <PresentationFormat>Widescreen</PresentationFormat>
  <Paragraphs>807</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Barlow</vt:lpstr>
      <vt:lpstr>Wingdings</vt:lpstr>
      <vt:lpstr>Arial Black</vt:lpstr>
      <vt:lpstr>Arial (Body)</vt:lpstr>
      <vt:lpstr>Arial</vt:lpstr>
      <vt:lpstr>Wingdings 3</vt:lpstr>
      <vt:lpstr>HelveticaNeueLT Std Lt Cn</vt:lpstr>
      <vt:lpstr>Segoe UI</vt:lpstr>
      <vt:lpstr>Roboto</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5</cp:revision>
  <cp:lastPrinted>2024-09-17T13:37:47Z</cp:lastPrinted>
  <dcterms:created xsi:type="dcterms:W3CDTF">2024-06-17T14:42:21Z</dcterms:created>
  <dcterms:modified xsi:type="dcterms:W3CDTF">2024-12-04T10:5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